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8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92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E42D1-613D-4332-9A19-705EC028E1B3}" type="datetimeFigureOut">
              <a:rPr lang="en-GB" smtClean="0"/>
              <a:t>03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1BD37-0194-4D45-8D40-6B5080FA44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14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7F839-C01D-5A81-594E-725C6973D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E5DE9F-FA2A-F89B-960A-54D5626EC9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17DD9-5900-B247-1D93-BEC3D01EFF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77988-535B-44F8-BD1E-43F007484824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196EE-FB74-9986-E420-3B9292AF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AE0A0-023B-A937-5554-7C76F26F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6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8409E-6970-7CB6-7E58-B0F8AC27C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BE440-E79C-EE3A-627E-1EECE96FA8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C3741-C94D-B3D6-0B0D-217B8A4DE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434D6-22B4-48DB-9FB1-4637EED94B6F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C5AFE-530F-E1DE-6EBA-F9D19BEA2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82-7901-9C95-8487-9BC521408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95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FEA1F8-E784-B918-3FB5-1872009B9D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3D3E07-C9CE-8420-61F5-D8062B4C92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522E5-2531-2530-6FBB-2E9E0A6B0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BA85F-474D-4BB0-935A-768BAF8A0B95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46E9D-1BA2-5FF6-AD86-24034812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89AAC-E447-B7C1-C058-30BF9B425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854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4537B-9A71-3232-94CB-6AD06F4F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15C24-9D69-9C68-29A7-5639652F7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F81D1-70CE-0EDC-1310-3B9D30BD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10176-91FD-46B9-8ACB-34F1364631FA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788EAF-5FE1-7154-EF8D-E6963E4F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84985-1360-7752-9BEC-1AF33DDD9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32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DAF10-5945-FFDE-16EC-B516C3B0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BDF2E-9A9F-029F-49D1-AB634A944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A285A7-F207-6541-980A-37C77C56C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D1649-4550-40D4-8BCD-C5FB14D08FC2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4AA50-CFB0-D273-C5A0-47FE39FD5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2984D-AAD7-537C-D39F-1554F9CF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69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BB04C-6E5E-84BD-8BB0-D3494D43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C84F1-B7FA-11D8-2723-041E800FF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FF3276-18A9-5836-2FCC-A3458FF6A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63D3D-0DFF-2841-EB4D-BE8FD3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E208E-AFA7-4654-8D2F-BEB8F8DA8AB2}" type="datetime1">
              <a:rPr lang="en-GB" smtClean="0"/>
              <a:t>03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84ED9-D069-C060-55D2-2B9A78F2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4175E-00D1-8778-7169-7927B8BF6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766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C348-A26C-FFF2-56E1-EE1599061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9EB38-8EB8-20B5-39B3-0CB660263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923B0-FAFB-B693-5130-699BD85244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54D618-F42F-08B1-19E8-715582EEDF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DC93A-39C5-2A15-5E29-723B01AA45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5BB30C-76D9-4E51-F065-1582D2F8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20988-67FA-4094-A298-8BFDF7933345}" type="datetime1">
              <a:rPr lang="en-GB" smtClean="0"/>
              <a:t>03/09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B9A5E5-E079-5CF0-D302-4413498D7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B10946-B909-1CFD-AB08-22451EF31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82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1767-4F44-3DD2-0A3C-3B7B2017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FE5635-0C0C-3B73-E8AF-77306855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734E0-BB75-480C-A54C-6C8EB1BF0CCF}" type="datetime1">
              <a:rPr lang="en-GB" smtClean="0"/>
              <a:t>03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376B22-A9E1-6B02-BCE7-277267ED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2D507-0328-DDA2-B4FF-AE9A59E2B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88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430839-294A-BEA7-5D57-00E6E578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68D07-0D24-4C56-AA58-C30FA8BA2360}" type="datetime1">
              <a:rPr lang="en-GB" smtClean="0"/>
              <a:t>03/09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091789-6A7F-666E-6121-97C097EE6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036A-F366-CEA9-F6C5-71DCC2E9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21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CE8-7C92-213A-4D7B-058E6CA69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0B1A6-9DE7-3FEF-AE7A-40F0CA47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AA931-6259-45D9-B2CF-6E0F0F0830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658E91-823B-98E4-E128-8064CA5D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6FA0-200F-4E5F-A64E-B5ECFF55DF02}" type="datetime1">
              <a:rPr lang="en-GB" smtClean="0"/>
              <a:t>03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4D5DDD-0F53-EB2D-6D36-6B5A7809B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8FD3A-5DA9-10DB-0B1F-B95716E50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07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34CCC-7990-EC45-FE00-03621402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3527C-D21C-12B0-037F-57E5BF0B0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F4E5CE-870F-024A-7488-8C71B4CE9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E3E801-EF4A-54DE-4A10-3050413C0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545CB-1863-4CCF-9BE3-6709BC7C108F}" type="datetime1">
              <a:rPr lang="en-GB" smtClean="0"/>
              <a:t>03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DA057A-8AF5-697A-7A0D-EB82A1269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1A1506-1DCA-6B8D-AAD6-7087D2CC9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77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334A3E-2D7E-4E2E-65D9-B72CA26CB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20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0E574E-4CC8-C90C-0DF0-071676EA0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BF2BE1-117E-54A1-DD3D-CE08F5FAE1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93DA08-F362-1840-DA8F-9BE48521F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5E8F7-4594-4563-86BE-DE955395A6A4}" type="datetime1">
              <a:rPr lang="en-GB" smtClean="0"/>
              <a:t>03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C0F61-64D1-5402-E11F-AD48D1BB7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4DF-5B71-B52C-6833-D164BDA68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38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FA312C-0CD1-34F2-F3B7-6400D93F8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71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C7AAFB-84D2-4172-B3D3-52F769E7AA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ANL488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6DA114-333B-A423-9D78-B36A4D3E81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hen Guo Hao Alvin</a:t>
            </a:r>
          </a:p>
          <a:p>
            <a:r>
              <a:rPr lang="en-GB" dirty="0"/>
              <a:t>N1981071</a:t>
            </a:r>
          </a:p>
          <a:p>
            <a:r>
              <a:rPr lang="en-GB" dirty="0"/>
              <a:t>Presentation date: 03092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E70C62-CDC0-8F1B-04DD-1D47A244D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9F3954-187E-8613-4E85-EACADF17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88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8315"/>
          </a:xfrm>
        </p:spPr>
        <p:txBody>
          <a:bodyPr vert="horz">
            <a:normAutofit fontScale="90000"/>
          </a:bodyPr>
          <a:lstStyle/>
          <a:p>
            <a:r>
              <a:rPr lang="en-GB" sz="3200" dirty="0"/>
              <a:t>Slid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400" dirty="0"/>
              <a:t>Content</a:t>
            </a:r>
          </a:p>
          <a:p>
            <a:r>
              <a:rPr lang="en-GB" sz="2400" dirty="0"/>
              <a:t>To follow 6 by 6 rule</a:t>
            </a:r>
          </a:p>
          <a:p>
            <a:r>
              <a:rPr lang="en-GB" sz="2400" dirty="0"/>
              <a:t>Max 15 slid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2</a:t>
            </a:fld>
            <a:endParaRPr lang="en-GB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7871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5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ANL488 Presentation</vt:lpstr>
      <vt:lpstr>Slide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488 Presentation</dc:title>
  <dc:creator>Guo Hao Alvin Chen</dc:creator>
  <cp:lastModifiedBy>Guo Hao Alvin Chen</cp:lastModifiedBy>
  <cp:revision>7</cp:revision>
  <dcterms:created xsi:type="dcterms:W3CDTF">2022-09-03T09:54:32Z</dcterms:created>
  <dcterms:modified xsi:type="dcterms:W3CDTF">2022-09-03T10:00:00Z</dcterms:modified>
</cp:coreProperties>
</file>